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543" r:id="rId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404136148211979E-2"/>
          <c:y val="2.2404136148211979E-2"/>
          <c:w val="0.95519172770357608"/>
          <c:h val="0.95519172770357608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157-49C6-8940-898521F3F68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157-49C6-8940-898521F3F68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157-49C6-8940-898521F3F68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157-49C6-8940-898521F3F68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F157-49C6-8940-898521F3F687}"/>
              </c:ext>
            </c:extLst>
          </c:dPt>
          <c:dPt>
            <c:idx val="5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F157-49C6-8940-898521F3F687}"/>
              </c:ext>
            </c:extLst>
          </c:dPt>
          <c:dPt>
            <c:idx val="6"/>
            <c:bubble3D val="0"/>
            <c:spPr>
              <a:solidFill>
                <a:srgbClr val="FFFF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F157-49C6-8940-898521F3F687}"/>
              </c:ext>
            </c:extLst>
          </c:dPt>
          <c:val>
            <c:numRef>
              <c:f>Sheet1!$A$1:$A$7</c:f>
              <c:numCache>
                <c:formatCode>General</c:formatCode>
                <c:ptCount val="7"/>
                <c:pt idx="0">
                  <c:v>37.018530085363309</c:v>
                </c:pt>
                <c:pt idx="1">
                  <c:v>24.41182594211951</c:v>
                </c:pt>
                <c:pt idx="2">
                  <c:v>19.310847387049758</c:v>
                </c:pt>
                <c:pt idx="3">
                  <c:v>8.3281282531750982</c:v>
                </c:pt>
                <c:pt idx="4">
                  <c:v>4.6845721424109925</c:v>
                </c:pt>
                <c:pt idx="5">
                  <c:v>3.6435561107641052</c:v>
                </c:pt>
                <c:pt idx="6">
                  <c:v>2.6025400791172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157-49C6-8940-898521F3F6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1BD708-4E0E-43AE-80E3-693BACE07A7B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DB843A-55AE-44AE-BCB9-430DA69E5C1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3783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4284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650DFBA-8216-498F-B7CC-DC9E993A57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32B6B89E-F987-46A3-953B-50D46168B3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B738BE9-F436-4F9B-A683-61CF0BD1C4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C649E-5FB5-4BA5-BAE2-2881E059E2FA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AA5C360-331A-4CA3-9AFA-4E5FD01DB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13317E4-045C-4E68-9E65-D7B2AC704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6B894-FC7B-4B7E-8CF3-085F563BEEC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26504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C5DA511-A1B2-411C-B801-F69B22089C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DFECAE03-7ED7-4ED4-A979-80DBAE7184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9BBBB1C-9B1F-44FC-8F56-D0A67F3B4F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C649E-5FB5-4BA5-BAE2-2881E059E2FA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EE0B86B-9562-44DE-AD26-6B0690062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5D863D0-C3DD-4C91-A761-185C30BBD2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6B894-FC7B-4B7E-8CF3-085F563BEEC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97794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ACB4EE64-1321-4B2E-80D9-4B93253EC90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0B3DDE80-5101-4FAC-B232-798101E213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43C54EF-179F-49A0-A59A-626B85D9B1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C649E-5FB5-4BA5-BAE2-2881E059E2FA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74751AA-EB2F-434C-8E98-7B2AD7EB2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0E4A9CF-3417-4D29-8E90-8CB4C1794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6B894-FC7B-4B7E-8CF3-085F563BEEC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30277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over_Title with BG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品牌深绿色封面 50pt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88245" y="3209607"/>
            <a:ext cx="5465937" cy="45085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2500" spc="150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zh-CN" altLang="en-US" dirty="0"/>
              <a:t>主标题文字示意 </a:t>
            </a:r>
            <a:r>
              <a:rPr lang="en-US" altLang="zh-CN" dirty="0"/>
              <a:t>50</a:t>
            </a:r>
            <a:r>
              <a:rPr lang="en-CN"/>
              <a:t>pt</a:t>
            </a:r>
            <a:endParaRPr lang="en-CN" dirty="0"/>
          </a:p>
        </p:txBody>
      </p:sp>
      <p:sp>
        <p:nvSpPr>
          <p:cNvPr id="214" name="文件名称 30pt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88245" y="2958159"/>
            <a:ext cx="3698502" cy="29299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  <a:sym typeface="LiciumFont 2022 Bold"/>
              </a:defRPr>
            </a:lvl1pPr>
          </a:lstStyle>
          <a:p>
            <a:r>
              <a:rPr lang="en-CN" dirty="0"/>
              <a:t>副标题文字示意</a:t>
            </a:r>
            <a:r>
              <a:rPr dirty="0"/>
              <a:t> 30pt</a:t>
            </a:r>
          </a:p>
        </p:txBody>
      </p:sp>
      <p:sp>
        <p:nvSpPr>
          <p:cNvPr id="215" name="YYYY MM DD 22.5pt"/>
          <p:cNvSpPr txBox="1">
            <a:spLocks noGrp="1"/>
          </p:cNvSpPr>
          <p:nvPr>
            <p:ph type="body" sz="quarter" idx="23"/>
          </p:nvPr>
        </p:nvSpPr>
        <p:spPr>
          <a:xfrm>
            <a:off x="488245" y="3713663"/>
            <a:ext cx="3698502" cy="17312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125" spc="68">
                <a:solidFill>
                  <a:srgbClr val="FFFFFF"/>
                </a:solidFill>
                <a:latin typeface="理想品牌字体 2022" panose="02000500000000000000" pitchFamily="2" charset="-122"/>
                <a:ea typeface="理想品牌字体 2022" panose="02000500000000000000" pitchFamily="2" charset="-122"/>
                <a:cs typeface="理想品牌字体 2022" panose="02000500000000000000" pitchFamily="2" charset="-122"/>
              </a:defRPr>
            </a:lvl1pPr>
          </a:lstStyle>
          <a:p>
            <a:r>
              <a:t>YYYY MM DD 22.5pt</a:t>
            </a: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6E956642-B465-F430-C228-50C53DF6E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8174" y="3286587"/>
            <a:ext cx="1407564" cy="282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89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>
            <a:extLst>
              <a:ext uri="{FF2B5EF4-FFF2-40B4-BE49-F238E27FC236}">
                <a16:creationId xmlns:a16="http://schemas.microsoft.com/office/drawing/2014/main" id="{205FEE54-4656-4C9E-877D-8FA838BC8856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DE824560-B910-46EB-96C0-6C9DABA71AA2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F913515-D1B5-4750-8750-991BCA9D45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375E3343-0959-4EB2-8F34-5AD38682C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rgbClr val="002D28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0269622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solidFill>
          <a:srgbClr val="002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8016CF-C1EB-4E4E-BFE3-98E1DEDD5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6B4D8D53-9A1A-402F-A52D-F62B28502D2F}"/>
              </a:ext>
            </a:extLst>
          </p:cNvPr>
          <p:cNvSpPr txBox="1"/>
          <p:nvPr userDrawn="1"/>
        </p:nvSpPr>
        <p:spPr>
          <a:xfrm>
            <a:off x="11167872" y="6542143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F8D89439-77C9-4E61-8F99-766FC7EFF5C9}"/>
              </a:ext>
            </a:extLst>
          </p:cNvPr>
          <p:cNvSpPr txBox="1"/>
          <p:nvPr userDrawn="1"/>
        </p:nvSpPr>
        <p:spPr>
          <a:xfrm>
            <a:off x="630000" y="6566509"/>
            <a:ext cx="5133975" cy="11298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L</a:t>
            </a:r>
            <a:r>
              <a:rPr lang="en-US" altLang="zh-CN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i Auto Inc.</a:t>
            </a:r>
            <a:r>
              <a:rPr lang="en-US" sz="8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. All rights reserved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E426FA6-B907-4EAC-BAA7-03DF05CF1F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55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0E62ED-C2FC-46CC-B007-26A50A3D4E8E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rgbClr val="002D2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>
            <a:extLst>
              <a:ext uri="{FF2B5EF4-FFF2-40B4-BE49-F238E27FC236}">
                <a16:creationId xmlns:a16="http://schemas.microsoft.com/office/drawing/2014/main" id="{BDBD6C09-D67F-4985-9DF5-BC44166A62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48219" y="3146963"/>
            <a:ext cx="2815127" cy="564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186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97325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幻灯片" r:id="rId4" imgW="349" imgH="350" progId="TCLayout.ActiveDocument.1">
                  <p:embed/>
                </p:oleObj>
              </mc:Choice>
              <mc:Fallback>
                <p:oleObj name="think-cell 幻灯片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>
                <a:latin typeface="+mj-lt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183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50E976B-B94E-4FB1-9496-8D5D06A49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40C53B7-D67D-4CD2-999F-69AE163343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4026D1B-783E-484E-BE06-B4EF9A056F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C649E-5FB5-4BA5-BAE2-2881E059E2FA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59ED9BF-1BF2-44AB-8985-2CC2FA98C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FDA65E4-7053-4859-A400-D82A93E15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6B894-FC7B-4B7E-8CF3-085F563BEEC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01472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1239D2A-DAF3-4AF8-B1E3-B00F4A07F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F06CF45-1753-4053-9AD0-6FDDBA2D1B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02C9E5E-ADFD-49BA-B0AA-6DE9551C50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C649E-5FB5-4BA5-BAE2-2881E059E2FA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08AE1FE-24C8-4F81-B11E-A7F756F0CE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A83A8AE-B001-463C-B3FA-0C93277474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6B894-FC7B-4B7E-8CF3-085F563BEEC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787011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097FAC4-1A9E-46AE-9E2E-F7CC441E1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F43E245-0CB2-4C0B-BF51-DB50DF45D3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9C045950-BBD5-4458-AD29-91DD5251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44432B7F-98DF-48BC-8EFB-F55C4DEFB6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C649E-5FB5-4BA5-BAE2-2881E059E2FA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BAEC81E-0E84-49B5-8FAC-54630D41C7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C59BF6A-9410-45AE-8422-70D87C542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6B894-FC7B-4B7E-8CF3-085F563BEEC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281250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FD6D6DE-5B21-4EED-9CEF-0BD3B9DC7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A3A58D8-E2BA-4424-8016-88711C6D84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03FF788F-3617-4BFC-92FB-DD71E106E8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6F05B1FE-8AD7-4E76-AE1A-FAC60530122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F9093048-E8DF-4293-BF42-04C0173E953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6287F5B4-9F7D-49AD-9181-B08CDF58EB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C649E-5FB5-4BA5-BAE2-2881E059E2FA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8783703A-2877-4EA4-BD8C-69AF2E2B69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0918834C-37E1-42B6-ABFE-7416397D1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6B894-FC7B-4B7E-8CF3-085F563BEEC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962875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A3027D0-17E2-4DA4-BBE0-C4DD370D62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BD319451-606F-409C-865A-C42C75D3C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C649E-5FB5-4BA5-BAE2-2881E059E2FA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106B04F-6048-430C-9395-5AF928936D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44DD36DA-AFF3-4739-9758-1687A01B22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6B894-FC7B-4B7E-8CF3-085F563BEEC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46486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63F4501F-5055-46C3-9137-093DE8EF0F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C649E-5FB5-4BA5-BAE2-2881E059E2FA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42AE687-CCF3-431F-B6E0-691B993B11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A8AAB62-A9F6-4F12-B11E-02009C710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6B894-FC7B-4B7E-8CF3-085F563BEEC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22744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5741D47-6A5C-4749-B88E-34F8A2BA2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D3CA83D-741C-4A1C-AF69-F0FED6DD1C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DCE638C8-841F-4575-9BD1-5FF4129594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831537C-87C9-4EFD-8D51-20CEF56BD0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C649E-5FB5-4BA5-BAE2-2881E059E2FA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5AE4DFC-525B-4790-8955-D4BBED8B7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5E6D577-AA98-43AF-9570-11754E4F67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6B894-FC7B-4B7E-8CF3-085F563BEEC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64724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63CF108-E5DA-4EBF-9851-B4181D497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A62D1315-BB3D-4799-9D4D-5E6C8654F23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87935022-C26E-41F5-8A9D-A470728729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30C46318-9947-437B-8853-8F301E69E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C649E-5FB5-4BA5-BAE2-2881E059E2FA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40AF5DD9-2F18-4786-B792-4FDFF2D314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722CFF70-94F9-40FD-832A-298FD8C4D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6B894-FC7B-4B7E-8CF3-085F563BEEC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20525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10276E57-7FF7-473C-A756-AD1D527B1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301A385-B3A5-44E5-AEC7-4204E306BB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FC8345A-E237-45A7-BA0D-2D5622247C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EC649E-5FB5-4BA5-BAE2-2881E059E2FA}" type="datetimeFigureOut">
              <a:rPr lang="zh-CN" altLang="en-US" smtClean="0"/>
              <a:t>2025/9/1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2CA8CA8-DC10-4BE9-80A7-64EE434D0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F2BD444-E4C2-420B-9700-EBE31A906D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6B894-FC7B-4B7E-8CF3-085F563BEEC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9673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542143"/>
            <a:ext cx="148205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62607"/>
            <a:ext cx="10933350" cy="339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DA10A2A-995D-41AD-B2DA-FA40CEA4E16D}"/>
              </a:ext>
            </a:extLst>
          </p:cNvPr>
          <p:cNvSpPr/>
          <p:nvPr userDrawn="1"/>
        </p:nvSpPr>
        <p:spPr>
          <a:xfrm>
            <a:off x="-356181" y="2310854"/>
            <a:ext cx="286003" cy="280335"/>
          </a:xfrm>
          <a:prstGeom prst="rect">
            <a:avLst/>
          </a:prstGeom>
          <a:solidFill>
            <a:srgbClr val="002D2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43181631-954E-4F10-B9C7-E9E01C271B9F}"/>
              </a:ext>
            </a:extLst>
          </p:cNvPr>
          <p:cNvSpPr/>
          <p:nvPr userDrawn="1"/>
        </p:nvSpPr>
        <p:spPr>
          <a:xfrm>
            <a:off x="-356181" y="2981502"/>
            <a:ext cx="286003" cy="280335"/>
          </a:xfrm>
          <a:prstGeom prst="rect">
            <a:avLst/>
          </a:prstGeom>
          <a:solidFill>
            <a:srgbClr val="00726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CFBC70-3C32-47A7-BEFA-93EE6381DAE1}"/>
              </a:ext>
            </a:extLst>
          </p:cNvPr>
          <p:cNvSpPr/>
          <p:nvPr userDrawn="1"/>
        </p:nvSpPr>
        <p:spPr>
          <a:xfrm>
            <a:off x="-356181" y="3316826"/>
            <a:ext cx="286003" cy="280335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E2AAD90-17BC-4E5F-B5E1-912B7FC55AD9}"/>
              </a:ext>
            </a:extLst>
          </p:cNvPr>
          <p:cNvSpPr/>
          <p:nvPr userDrawn="1"/>
        </p:nvSpPr>
        <p:spPr>
          <a:xfrm>
            <a:off x="-356181" y="3652150"/>
            <a:ext cx="286003" cy="280335"/>
          </a:xfrm>
          <a:prstGeom prst="rect">
            <a:avLst/>
          </a:prstGeom>
          <a:solidFill>
            <a:schemeClr val="bg2">
              <a:lumMod val="2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8A2A623-4341-498F-B844-F5997D39F497}"/>
              </a:ext>
            </a:extLst>
          </p:cNvPr>
          <p:cNvSpPr/>
          <p:nvPr userDrawn="1"/>
        </p:nvSpPr>
        <p:spPr>
          <a:xfrm>
            <a:off x="-356181" y="2646178"/>
            <a:ext cx="286003" cy="280335"/>
          </a:xfrm>
          <a:prstGeom prst="rect">
            <a:avLst/>
          </a:prstGeom>
          <a:solidFill>
            <a:srgbClr val="D6A26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AF57BCF-B1EE-49AF-8730-7790411D1D00}"/>
              </a:ext>
            </a:extLst>
          </p:cNvPr>
          <p:cNvSpPr/>
          <p:nvPr userDrawn="1"/>
        </p:nvSpPr>
        <p:spPr>
          <a:xfrm>
            <a:off x="-356181" y="3987474"/>
            <a:ext cx="286003" cy="28033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6643063-830A-4975-8CCF-3FAD21983090}"/>
              </a:ext>
            </a:extLst>
          </p:cNvPr>
          <p:cNvSpPr/>
          <p:nvPr userDrawn="1"/>
        </p:nvSpPr>
        <p:spPr>
          <a:xfrm>
            <a:off x="-1180538" y="231085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企业主色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E3F3A86-3529-4AFC-80EB-243819A75B16}"/>
              </a:ext>
            </a:extLst>
          </p:cNvPr>
          <p:cNvSpPr/>
          <p:nvPr userDrawn="1"/>
        </p:nvSpPr>
        <p:spPr>
          <a:xfrm>
            <a:off x="-1180538" y="2981501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B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8BB9018-7258-4779-A61C-EB29ED1E53C0}"/>
              </a:ext>
            </a:extLst>
          </p:cNvPr>
          <p:cNvSpPr/>
          <p:nvPr userDrawn="1"/>
        </p:nvSpPr>
        <p:spPr>
          <a:xfrm>
            <a:off x="-1180538" y="3316825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PH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9B137C6-DB42-40D4-8685-348228B26966}"/>
              </a:ext>
            </a:extLst>
          </p:cNvPr>
          <p:cNvSpPr/>
          <p:nvPr userDrawn="1"/>
        </p:nvSpPr>
        <p:spPr>
          <a:xfrm>
            <a:off x="-1180538" y="365214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ICE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8930565-9C2B-438E-8262-B6FBD20996BF}"/>
              </a:ext>
            </a:extLst>
          </p:cNvPr>
          <p:cNvSpPr/>
          <p:nvPr userDrawn="1"/>
        </p:nvSpPr>
        <p:spPr>
          <a:xfrm>
            <a:off x="-1180538" y="3987473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1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54F5C43-5D2D-4418-8E3D-815B5FAF80D3}"/>
              </a:ext>
            </a:extLst>
          </p:cNvPr>
          <p:cNvSpPr/>
          <p:nvPr userDrawn="1"/>
        </p:nvSpPr>
        <p:spPr>
          <a:xfrm>
            <a:off x="-1180538" y="264617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NEV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DAD48A-31BA-40D5-ABB4-FB06E5B73D1B}"/>
              </a:ext>
            </a:extLst>
          </p:cNvPr>
          <p:cNvSpPr/>
          <p:nvPr userDrawn="1"/>
        </p:nvSpPr>
        <p:spPr>
          <a:xfrm>
            <a:off x="-356181" y="4322798"/>
            <a:ext cx="286003" cy="280335"/>
          </a:xfrm>
          <a:prstGeom prst="rect">
            <a:avLst/>
          </a:prstGeom>
          <a:solidFill>
            <a:srgbClr val="03522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596D2A2-BE71-4C43-8A6B-9F1608AAB758}"/>
              </a:ext>
            </a:extLst>
          </p:cNvPr>
          <p:cNvSpPr/>
          <p:nvPr userDrawn="1"/>
        </p:nvSpPr>
        <p:spPr>
          <a:xfrm>
            <a:off x="-1180538" y="432279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2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71F608E-6A10-4A23-AD45-4DDA9A20699B}"/>
              </a:ext>
            </a:extLst>
          </p:cNvPr>
          <p:cNvSpPr/>
          <p:nvPr userDrawn="1"/>
        </p:nvSpPr>
        <p:spPr>
          <a:xfrm>
            <a:off x="-356181" y="4658120"/>
            <a:ext cx="286003" cy="280335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184FECC-5DC0-4550-A4E5-18BFA7EB4195}"/>
              </a:ext>
            </a:extLst>
          </p:cNvPr>
          <p:cNvSpPr/>
          <p:nvPr userDrawn="1"/>
        </p:nvSpPr>
        <p:spPr>
          <a:xfrm>
            <a:off x="-1180538" y="465811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3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A2CA937-820C-4B7F-9FE2-B62BD2696F6F}"/>
              </a:ext>
            </a:extLst>
          </p:cNvPr>
          <p:cNvSpPr/>
          <p:nvPr userDrawn="1"/>
        </p:nvSpPr>
        <p:spPr>
          <a:xfrm>
            <a:off x="-356181" y="4993440"/>
            <a:ext cx="286003" cy="280335"/>
          </a:xfrm>
          <a:prstGeom prst="rect">
            <a:avLst/>
          </a:prstGeom>
          <a:solidFill>
            <a:srgbClr val="66BB6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5E7A2AF-151E-4BB9-BDBB-1923EBF515F4}"/>
              </a:ext>
            </a:extLst>
          </p:cNvPr>
          <p:cNvSpPr/>
          <p:nvPr userDrawn="1"/>
        </p:nvSpPr>
        <p:spPr>
          <a:xfrm>
            <a:off x="-1180538" y="4993439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4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FA82179-0809-4381-9EA6-6566D482D20C}"/>
              </a:ext>
            </a:extLst>
          </p:cNvPr>
          <p:cNvSpPr/>
          <p:nvPr userDrawn="1"/>
        </p:nvSpPr>
        <p:spPr>
          <a:xfrm>
            <a:off x="-356181" y="5328759"/>
            <a:ext cx="286003" cy="280335"/>
          </a:xfrm>
          <a:prstGeom prst="rect">
            <a:avLst/>
          </a:prstGeom>
          <a:solidFill>
            <a:srgbClr val="E1B87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sz="1200" dirty="0">
              <a:solidFill>
                <a:srgbClr val="FFFFFF"/>
              </a:solidFill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581EF59C-3A1D-4D6B-92AC-82036BDBB42E}"/>
              </a:ext>
            </a:extLst>
          </p:cNvPr>
          <p:cNvSpPr/>
          <p:nvPr userDrawn="1"/>
        </p:nvSpPr>
        <p:spPr>
          <a:xfrm>
            <a:off x="-1180538" y="5328758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备选色</a:t>
            </a:r>
            <a:r>
              <a:rPr lang="en-US" altLang="zh-CN" sz="1000" dirty="0">
                <a:solidFill>
                  <a:schemeClr val="bg2">
                    <a:lumMod val="10000"/>
                  </a:schemeClr>
                </a:solidFill>
              </a:rPr>
              <a:t>5</a:t>
            </a:r>
            <a:endParaRPr lang="zh-CN" altLang="en-US" sz="10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E911B77-F835-4EE1-8AE2-C1DD4037E9FC}"/>
              </a:ext>
            </a:extLst>
          </p:cNvPr>
          <p:cNvSpPr/>
          <p:nvPr userDrawn="1"/>
        </p:nvSpPr>
        <p:spPr>
          <a:xfrm>
            <a:off x="-356181" y="1975528"/>
            <a:ext cx="286003" cy="280335"/>
          </a:xfrm>
          <a:prstGeom prst="rect">
            <a:avLst/>
          </a:prstGeom>
          <a:solidFill>
            <a:schemeClr val="bg2">
              <a:lumMod val="1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LiciumFont 2022 Bold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0C5EC43-7B19-4207-A4A0-41D2B6D8A470}"/>
              </a:ext>
            </a:extLst>
          </p:cNvPr>
          <p:cNvSpPr/>
          <p:nvPr userDrawn="1"/>
        </p:nvSpPr>
        <p:spPr>
          <a:xfrm>
            <a:off x="-1180538" y="1975527"/>
            <a:ext cx="818707" cy="2803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zh-CN" altLang="en-US" sz="1000" dirty="0">
                <a:solidFill>
                  <a:schemeClr val="bg2">
                    <a:lumMod val="10000"/>
                  </a:schemeClr>
                </a:solidFill>
              </a:rPr>
              <a:t>标准黑</a:t>
            </a:r>
          </a:p>
        </p:txBody>
      </p:sp>
    </p:spTree>
    <p:extLst>
      <p:ext uri="{BB962C8B-B14F-4D97-AF65-F5344CB8AC3E}">
        <p14:creationId xmlns:p14="http://schemas.microsoft.com/office/powerpoint/2010/main" val="1442734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2D28"/>
          </a:solidFill>
          <a:latin typeface="理想品牌字体 2022" panose="02000500000000000000" pitchFamily="2" charset="-122"/>
          <a:ea typeface="理想品牌字体 2022" panose="02000500000000000000" pitchFamily="2" charset="-122"/>
          <a:cs typeface="理想品牌字体 2022" panose="02000500000000000000" pitchFamily="2" charset="-122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bg2">
              <a:lumMod val="10000"/>
            </a:schemeClr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16">
          <p15:clr>
            <a:srgbClr val="F26B43"/>
          </p15:clr>
        </p15:guide>
        <p15:guide id="2" pos="7256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28">
          <p15:clr>
            <a:srgbClr val="F26B43"/>
          </p15:clr>
        </p15:guide>
        <p15:guide id="6" orient="horz" pos="3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image" Target="../media/image4.emf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oleObject" Target="../embeddings/oleObject5.bin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notesSlide" Target="../notesSlides/notesSlide1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slideLayout" Target="../slideLayouts/slideLayout16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幻灯片" r:id="rId25" imgW="349" imgH="350" progId="TCLayout.ActiveDocument.1">
                  <p:embed/>
                </p:oleObj>
              </mc:Choice>
              <mc:Fallback>
                <p:oleObj name="think-cell 幻灯片" r:id="rId25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39004"/>
          </a:xfrm>
        </p:spPr>
        <p:txBody>
          <a:bodyPr vert="horz"/>
          <a:lstStyle/>
          <a:p>
            <a:r>
              <a:rPr lang="en-US" altLang="zh-CN" dirty="0"/>
              <a:t>{title}</a:t>
            </a:r>
            <a:endParaRPr lang="en-US" dirty="0"/>
          </a:p>
        </p:txBody>
      </p:sp>
      <p:graphicFrame>
        <p:nvGraphicFramePr>
          <p:cNvPr id="35" name="Chart 3">
            <a:extLst>
              <a:ext uri="{FF2B5EF4-FFF2-40B4-BE49-F238E27FC236}">
                <a16:creationId xmlns:a16="http://schemas.microsoft.com/office/drawing/2014/main" id="{1794323E-4B62-444D-8048-804185C4A395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2436813" y="1824038"/>
          <a:ext cx="3684587" cy="3684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11" name="Rectangle 42">
            <a:extLst>
              <a:ext uri="{FF2B5EF4-FFF2-40B4-BE49-F238E27FC236}">
                <a16:creationId xmlns:a16="http://schemas.microsoft.com/office/drawing/2014/main" id="{9E6410C4-3A5C-5202-DDF5-56F693567930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5281612" y="2911475"/>
            <a:ext cx="598488" cy="3841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0F1AF29-5FD5-417A-B826-FA4D5AB764C7}" type="datetime'''''3''''''''''''5''''''''''''''.6''''''m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5.6m</a:t>
            </a:fld>
            <a:b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</a:t>
            </a:r>
            <a:fld id="{DDFBE2D8-664C-4991-98AF-9BFA0C4F4CEA}" type="datetime'''''''''''''''3''''7''''%''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7%</a:t>
            </a:fld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)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Rectangle 72">
            <a:extLst>
              <a:ext uri="{FF2B5EF4-FFF2-40B4-BE49-F238E27FC236}">
                <a16:creationId xmlns:a16="http://schemas.microsoft.com/office/drawing/2014/main" id="{80CEA80E-0234-8C67-3415-F0D6EE11302B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4054474" y="4994275"/>
            <a:ext cx="598488" cy="3841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018696-6989-4FA8-870B-D74B3B4FECF4}" type="datetime'2''''3.''''''''''''''''''5''''''''''''''''''''m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.5m</a:t>
            </a:fld>
            <a:b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</a:t>
            </a:r>
            <a:fld id="{682D26D6-BC9C-4C37-8169-E2405119FD2B}" type="datetime'''''''''''2''''''''4''''''''%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%</a:t>
            </a:fld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)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Rectangle 55">
            <a:extLst>
              <a:ext uri="{FF2B5EF4-FFF2-40B4-BE49-F238E27FC236}">
                <a16:creationId xmlns:a16="http://schemas.microsoft.com/office/drawing/2014/main" id="{AEB62DBA-6519-CFF3-5B67-2BDB0854DB7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592387" y="3825875"/>
            <a:ext cx="565150" cy="3841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8E61C4-16FB-4A6B-8A65-54E415170EB8}" type="datetime'''''''''''''''''''18''''''''''''.''''''''''''''''''''''6m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.6m</a:t>
            </a:fld>
            <a:b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</a:t>
            </a:r>
            <a:fld id="{35FEC127-3E5F-4B24-A4D7-2DDE58A84F1F}" type="datetime'''1''''''''''''''''''''''''9''''''''''''''''''''%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%</a:t>
            </a:fld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)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Rectangle 18">
            <a:extLst>
              <a:ext uri="{FF2B5EF4-FFF2-40B4-BE49-F238E27FC236}">
                <a16:creationId xmlns:a16="http://schemas.microsoft.com/office/drawing/2014/main" id="{683939CA-73E5-B2FB-382F-BB99E23759D7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847975" y="2625725"/>
            <a:ext cx="495300" cy="3841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D73DC5-035D-4200-A2AD-3D095655E4B2}" type="datetime'''''''''''''8''''''''''.''''0''''''''m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.0m</a:t>
            </a:fld>
            <a:b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</a:b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(</a:t>
            </a:r>
            <a:fld id="{8F597A04-50EE-4BF7-8F83-D570F0FA5E3B}" type="datetime'8''''%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%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15" name="Rectangle 21">
            <a:extLst>
              <a:ext uri="{FF2B5EF4-FFF2-40B4-BE49-F238E27FC236}">
                <a16:creationId xmlns:a16="http://schemas.microsoft.com/office/drawing/2014/main" id="{8FE32027-4130-1DAE-AC8C-2A850633270C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3278188" y="2214563"/>
            <a:ext cx="492125" cy="38417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E15E3D5-B4B6-4282-9BF9-0EA7A6FD888B}" type="datetime'''''''''''''''''''''''''''''''4''.5''''''m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.5m</a:t>
            </a:fld>
            <a:b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</a:b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(</a:t>
            </a:r>
            <a:fld id="{FDC0CCF1-9448-4E24-BA6C-7C685F4CCB60}" type="datetime'''''''''''''''''5''''''''''''''''''%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%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7" name="Rectangle 19">
            <a:extLst>
              <a:ext uri="{FF2B5EF4-FFF2-40B4-BE49-F238E27FC236}">
                <a16:creationId xmlns:a16="http://schemas.microsoft.com/office/drawing/2014/main" id="{ECCB22DD-20AB-13D3-D3F8-31D198B01049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744913" y="2455863"/>
            <a:ext cx="487363" cy="38417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8B8A006-BF29-4732-A7EA-6AACD3C03685}" type="datetime'''''''3''''''''''''''''.''''''''''''''''''''''''''5''''''''m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.5m</a:t>
            </a:fld>
            <a:b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</a:b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</a:t>
            </a:r>
            <a:fld id="{D360B475-E264-4DDD-B343-EE267E67D400}" type="datetime'''4%''''''''''''''''''''''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%</a:t>
            </a:fld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)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Rectangle 22">
            <a:extLst>
              <a:ext uri="{FF2B5EF4-FFF2-40B4-BE49-F238E27FC236}">
                <a16:creationId xmlns:a16="http://schemas.microsoft.com/office/drawing/2014/main" id="{598F452D-0F70-1849-3A3E-E74054BFF461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908425" y="1952625"/>
            <a:ext cx="488950" cy="384175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80680C0-524C-4978-A623-C7567EDE608F}" type="datetime'''''''''''''''''''''''''''''''''2''''''.5m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.5m</a:t>
            </a:fld>
            <a:b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</a:b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(</a:t>
            </a:r>
            <a:fld id="{CC79B896-105B-4A8A-88C8-6C68A63C3013}" type="datetime'''''''''''''''''''''''''''''''''''''3''%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%</a:t>
            </a:fld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17" name="Rectangle 8">
            <a:extLst>
              <a:ext uri="{FF2B5EF4-FFF2-40B4-BE49-F238E27FC236}">
                <a16:creationId xmlns:a16="http://schemas.microsoft.com/office/drawing/2014/main" id="{1B73F394-B56E-2993-482F-736C05BD1D81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466850" y="5778500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9" name="Rectangle 9">
            <a:extLst>
              <a:ext uri="{FF2B5EF4-FFF2-40B4-BE49-F238E27FC236}">
                <a16:creationId xmlns:a16="http://schemas.microsoft.com/office/drawing/2014/main" id="{B9895F7F-8AAD-1B4A-629C-4EC8E945F4DC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1466850" y="6042025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18" name="Rectangle 10">
            <a:extLst>
              <a:ext uri="{FF2B5EF4-FFF2-40B4-BE49-F238E27FC236}">
                <a16:creationId xmlns:a16="http://schemas.microsoft.com/office/drawing/2014/main" id="{ED8211C4-9BC2-5DBE-04DB-046254069CE3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651125" y="5778500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0" name="Rectangle 11">
            <a:extLst>
              <a:ext uri="{FF2B5EF4-FFF2-40B4-BE49-F238E27FC236}">
                <a16:creationId xmlns:a16="http://schemas.microsoft.com/office/drawing/2014/main" id="{D87D73E3-7963-C43A-787C-B413EB9386E0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2651125" y="6042025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07A71BA4-C201-24EC-DAD6-2F609A3E980D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3914775" y="5778500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1" name="Rectangle 13">
            <a:extLst>
              <a:ext uri="{FF2B5EF4-FFF2-40B4-BE49-F238E27FC236}">
                <a16:creationId xmlns:a16="http://schemas.microsoft.com/office/drawing/2014/main" id="{545F4CDA-5956-AAA1-5F7F-8F09D1CACB0E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3914775" y="6042025"/>
            <a:ext cx="250825" cy="187325"/>
          </a:xfrm>
          <a:prstGeom prst="rect">
            <a:avLst/>
          </a:prstGeom>
          <a:pattFill prst="pct50">
            <a:fgClr>
              <a:schemeClr val="tx1"/>
            </a:fgClr>
            <a:bgClr>
              <a:schemeClr val="bg1"/>
            </a:bgClr>
          </a:patt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</a:endParaRPr>
          </a:p>
        </p:txBody>
      </p:sp>
      <p:sp>
        <p:nvSpPr>
          <p:cNvPr id="24" name="Rectangle 61">
            <a:extLst>
              <a:ext uri="{FF2B5EF4-FFF2-40B4-BE49-F238E27FC236}">
                <a16:creationId xmlns:a16="http://schemas.microsoft.com/office/drawing/2014/main" id="{75C14576-5300-D206-0308-0E905BFAB3A7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1768475" y="5773738"/>
            <a:ext cx="4746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{series_1}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Arial" panose="020B0604020202020204" pitchFamily="34" charset="0"/>
            </a:endParaRPr>
          </a:p>
        </p:txBody>
      </p:sp>
      <p:sp>
        <p:nvSpPr>
          <p:cNvPr id="25" name="Rectangle 63">
            <a:extLst>
              <a:ext uri="{FF2B5EF4-FFF2-40B4-BE49-F238E27FC236}">
                <a16:creationId xmlns:a16="http://schemas.microsoft.com/office/drawing/2014/main" id="{F4AEC8F7-027C-2344-3AC4-685ACE751CFC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1768475" y="6037263"/>
            <a:ext cx="7810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4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Arial" panose="020B0604020202020204" pitchFamily="34" charset="0"/>
            </a:endParaRPr>
          </a:p>
        </p:txBody>
      </p:sp>
      <p:sp>
        <p:nvSpPr>
          <p:cNvPr id="26" name="Rectangle 62">
            <a:extLst>
              <a:ext uri="{FF2B5EF4-FFF2-40B4-BE49-F238E27FC236}">
                <a16:creationId xmlns:a16="http://schemas.microsoft.com/office/drawing/2014/main" id="{209626E0-751F-8538-E2F4-99462C36A2AA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2952750" y="5773738"/>
            <a:ext cx="6778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2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64">
            <a:extLst>
              <a:ext uri="{FF2B5EF4-FFF2-40B4-BE49-F238E27FC236}">
                <a16:creationId xmlns:a16="http://schemas.microsoft.com/office/drawing/2014/main" id="{7FBA56E2-86F4-56B5-2A65-265F79237D34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952750" y="6037263"/>
            <a:ext cx="8604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5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 66">
            <a:extLst>
              <a:ext uri="{FF2B5EF4-FFF2-40B4-BE49-F238E27FC236}">
                <a16:creationId xmlns:a16="http://schemas.microsoft.com/office/drawing/2014/main" id="{FD9CD3B9-1544-A94F-9E89-809C49A44E4E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4216399" y="5773738"/>
            <a:ext cx="4000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3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Arial" panose="020B0604020202020204" pitchFamily="34" charset="0"/>
            </a:endParaRPr>
          </a:p>
        </p:txBody>
      </p:sp>
      <p:sp>
        <p:nvSpPr>
          <p:cNvPr id="28" name="Rectangle 57">
            <a:extLst>
              <a:ext uri="{FF2B5EF4-FFF2-40B4-BE49-F238E27FC236}">
                <a16:creationId xmlns:a16="http://schemas.microsoft.com/office/drawing/2014/main" id="{D3C2039C-5142-CE79-A060-F4C12E99820E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4216400" y="6037263"/>
            <a:ext cx="4286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F2F2F2">
                    <a:lumMod val="10000"/>
                  </a:srgbClr>
                </a:solidFill>
              </a:rPr>
              <a:t>{series_6}</a:t>
            </a:r>
            <a:endParaRPr lang="en-US" altLang="zh-CN" sz="1400" dirty="0">
              <a:solidFill>
                <a:srgbClr val="F2F2F2">
                  <a:lumMod val="10000"/>
                </a:srgbClr>
              </a:solidFill>
              <a:sym typeface="Arial" panose="020B0604020202020204" pitchFamily="34" charset="0"/>
            </a:endParaRP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3214EC1C-3C08-9B52-49D0-EA9EF57C3F58}"/>
              </a:ext>
            </a:extLst>
          </p:cNvPr>
          <p:cNvSpPr txBox="1">
            <a:spLocks/>
          </p:cNvSpPr>
          <p:nvPr/>
        </p:nvSpPr>
        <p:spPr>
          <a:xfrm>
            <a:off x="407988" y="6215906"/>
            <a:ext cx="8173712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Symbol" panose="05050102010706020507" pitchFamily="18" charset="2"/>
              <a:buChar char="-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Keywords: </a:t>
            </a: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1A7449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, chart, charts, graph, graphs, percent, percentage, doughnut, doughnuts, donut, donuts, pies, percent, percentage, comment</a:t>
            </a:r>
          </a:p>
        </p:txBody>
      </p:sp>
      <p:sp>
        <p:nvSpPr>
          <p:cNvPr id="16" name="Rechteck 137">
            <a:extLst>
              <a:ext uri="{FF2B5EF4-FFF2-40B4-BE49-F238E27FC236}">
                <a16:creationId xmlns:a16="http://schemas.microsoft.com/office/drawing/2014/main" id="{008CD5FD-0131-6958-3232-AD3033F499EE}"/>
              </a:ext>
            </a:extLst>
          </p:cNvPr>
          <p:cNvSpPr>
            <a:spLocks/>
          </p:cNvSpPr>
          <p:nvPr/>
        </p:nvSpPr>
        <p:spPr>
          <a:xfrm>
            <a:off x="8454706" y="1809132"/>
            <a:ext cx="3365819" cy="4248767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4400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3522D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subtitle}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{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subtitle_cont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  <a:sym typeface="Futura"/>
              </a:rPr>
              <a:t>}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3522D"/>
              </a:solidFill>
              <a:effectLst/>
              <a:uLnTx/>
              <a:uFillTx/>
              <a:latin typeface="理想品牌字体 2022"/>
              <a:ea typeface="理想品牌字体 2022"/>
              <a:cs typeface="+mn-cs"/>
              <a:sym typeface="Futura"/>
            </a:endParaRPr>
          </a:p>
        </p:txBody>
      </p:sp>
      <p:grpSp>
        <p:nvGrpSpPr>
          <p:cNvPr id="29" name="tc_columnheader">
            <a:extLst>
              <a:ext uri="{FF2B5EF4-FFF2-40B4-BE49-F238E27FC236}">
                <a16:creationId xmlns:a16="http://schemas.microsoft.com/office/drawing/2014/main" id="{CD0736FB-094C-7E70-DD65-CF94370281FC}"/>
              </a:ext>
            </a:extLst>
          </p:cNvPr>
          <p:cNvGrpSpPr/>
          <p:nvPr/>
        </p:nvGrpSpPr>
        <p:grpSpPr>
          <a:xfrm>
            <a:off x="407987" y="1526560"/>
            <a:ext cx="7745413" cy="282573"/>
            <a:chOff x="407988" y="1526560"/>
            <a:chExt cx="5576400" cy="282573"/>
          </a:xfrm>
        </p:grpSpPr>
        <p:sp>
          <p:nvSpPr>
            <p:cNvPr id="30" name="tc_columnhead">
              <a:extLst>
                <a:ext uri="{FF2B5EF4-FFF2-40B4-BE49-F238E27FC236}">
                  <a16:creationId xmlns:a16="http://schemas.microsoft.com/office/drawing/2014/main" id="{2C3B0BA0-E6B0-44C5-42B7-30CA7A633D1C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理想品牌字体 2022"/>
                  <a:ea typeface="理想品牌字体 2022"/>
                  <a:cs typeface="+mn-cs"/>
                </a:rPr>
                <a:t>{chart_title}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31" name="tc_columnheadline">
              <a:extLst>
                <a:ext uri="{FF2B5EF4-FFF2-40B4-BE49-F238E27FC236}">
                  <a16:creationId xmlns:a16="http://schemas.microsoft.com/office/drawing/2014/main" id="{92DCA7B1-3BC1-83C1-4E07-A05902B655B0}"/>
                </a:ext>
              </a:extLst>
            </p:cNvPr>
            <p:cNvCxnSpPr>
              <a:cxnSpLocks/>
              <a:stCxn id="30" idx="4"/>
              <a:endCxn id="30" idx="6"/>
            </p:cNvCxnSpPr>
            <p:nvPr/>
          </p:nvCxnSpPr>
          <p:spPr>
            <a:xfrm>
              <a:off x="407988" y="1809133"/>
              <a:ext cx="5576400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tc_columnheader">
            <a:extLst>
              <a:ext uri="{FF2B5EF4-FFF2-40B4-BE49-F238E27FC236}">
                <a16:creationId xmlns:a16="http://schemas.microsoft.com/office/drawing/2014/main" id="{4FCD3F21-0C5C-1B5B-B28A-BE7CF244F74D}"/>
              </a:ext>
            </a:extLst>
          </p:cNvPr>
          <p:cNvGrpSpPr/>
          <p:nvPr/>
        </p:nvGrpSpPr>
        <p:grpSpPr>
          <a:xfrm>
            <a:off x="8153400" y="1541465"/>
            <a:ext cx="3365818" cy="282573"/>
            <a:chOff x="407988" y="1526560"/>
            <a:chExt cx="5576400" cy="282573"/>
          </a:xfrm>
        </p:grpSpPr>
        <p:sp>
          <p:nvSpPr>
            <p:cNvPr id="33" name="tc_columnhead">
              <a:extLst>
                <a:ext uri="{FF2B5EF4-FFF2-40B4-BE49-F238E27FC236}">
                  <a16:creationId xmlns:a16="http://schemas.microsoft.com/office/drawing/2014/main" id="{322C4713-6A2A-4175-631E-934CA64230B2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26560"/>
              <a:ext cx="5576400" cy="282573"/>
            </a:xfrm>
            <a:prstGeom prst="leftRightArrow">
              <a:avLst>
                <a:gd name="adj1" fmla="val 100000"/>
                <a:gd name="adj2" fmla="val 112714"/>
              </a:avLst>
            </a:prstGeom>
          </p:spPr>
          <p:txBody>
            <a:bodyPr vert="horz" wrap="square" lIns="0" tIns="0" rIns="0" bIns="3600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endParaRPr>
            </a:p>
          </p:txBody>
        </p:sp>
        <p:cxnSp>
          <p:nvCxnSpPr>
            <p:cNvPr id="34" name="tc_columnheadline">
              <a:extLst>
                <a:ext uri="{FF2B5EF4-FFF2-40B4-BE49-F238E27FC236}">
                  <a16:creationId xmlns:a16="http://schemas.microsoft.com/office/drawing/2014/main" id="{2DF1D3B6-2F13-4854-7550-EBAD1188076D}"/>
                </a:ext>
              </a:extLst>
            </p:cNvPr>
            <p:cNvCxnSpPr>
              <a:cxnSpLocks/>
              <a:stCxn id="33" idx="4"/>
              <a:endCxn id="33" idx="6"/>
            </p:cNvCxnSpPr>
            <p:nvPr/>
          </p:nvCxnSpPr>
          <p:spPr>
            <a:xfrm>
              <a:off x="935669" y="1809133"/>
              <a:ext cx="4521038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tangle 18">
            <a:extLst>
              <a:ext uri="{FF2B5EF4-FFF2-40B4-BE49-F238E27FC236}">
                <a16:creationId xmlns:a16="http://schemas.microsoft.com/office/drawing/2014/main" id="{3240CA55-AE25-E83C-5F73-D5BAA558A333}"/>
              </a:ext>
            </a:extLst>
          </p:cNvPr>
          <p:cNvSpPr>
            <a:spLocks/>
          </p:cNvSpPr>
          <p:nvPr/>
        </p:nvSpPr>
        <p:spPr>
          <a:xfrm>
            <a:off x="8811106" y="-805994"/>
            <a:ext cx="4575600" cy="1365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>
            <a:outerShdw blurRad="1524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s slide contains a </a:t>
            </a: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hink-cell chart</a:t>
            </a:r>
            <a:r>
              <a:rPr kumimoji="0" lang="en-US" sz="1200" b="0" i="0" u="sng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.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pen the chart's internal datashe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, double-clic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ny empty space in the chart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add annotation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(e.g., labels)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right-click the chart or a chart feature to open the context menu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hange the style and formatt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of the chart or a feature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理想品牌字体 2022"/>
                <a:ea typeface="理想品牌字体 2022"/>
                <a:cs typeface="+mn-cs"/>
              </a:rPr>
              <a:t>click the chart or feature to open the mini toolbar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理想品牌字体 2022"/>
              <a:ea typeface="理想品牌字体 2022"/>
              <a:cs typeface="Arial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4D9BC6E9-E68A-4B5E-8468-EBBD5020D3F1}"/>
              </a:ext>
            </a:extLst>
          </p:cNvPr>
          <p:cNvSpPr txBox="1"/>
          <p:nvPr/>
        </p:nvSpPr>
        <p:spPr>
          <a:xfrm>
            <a:off x="5024063" y="965771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dirty="0">
                <a:solidFill>
                  <a:srgbClr val="575757"/>
                </a:solidFill>
              </a:rPr>
              <a:t>请手动填充图表内数据</a:t>
            </a:r>
          </a:p>
        </p:txBody>
      </p:sp>
    </p:spTree>
    <p:extLst>
      <p:ext uri="{BB962C8B-B14F-4D97-AF65-F5344CB8AC3E}">
        <p14:creationId xmlns:p14="http://schemas.microsoft.com/office/powerpoint/2010/main" val="35871462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GwYNTEr0gnw57aeBwe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i9hL63LAooRtscLn1l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d2zMPS3.aiuHMFVIl5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hgrzILfOmviSvgPnWn.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41ZKHjAjDkt0rPB_D3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8MF4bIEwM1.lCDXoE5_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e4mBz.kBfs8ZljjeK_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pTnpt.ndgZpzLre7EZ9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BiZb5miKAsbEzBXboE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H8wZ9zoCHzwFqVK1.6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4J9KiGxUaUn0hLCAsh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KtRrgG3kAFNiof9Q09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cXrpfaVOJVF5EbRyjVA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zx6RwRHvt04NFk5NKk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ld_qsfzoLFM12j4KXf7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nldRKrKuaQJ_XgEaTa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oYmjtjPl2tPX0qXC3P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KXsRF50DpKIsYa52pD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9uP.DxpjHmnkJg8_vp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p5IoqibhPT01O6KaY60g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CG Grid 16:9">
  <a:themeElements>
    <a:clrScheme name="自定义 2">
      <a:dk1>
        <a:srgbClr val="575757"/>
      </a:dk1>
      <a:lt1>
        <a:sysClr val="window" lastClr="FFFFFF"/>
      </a:lt1>
      <a:dk2>
        <a:srgbClr val="1A7449"/>
      </a:dk2>
      <a:lt2>
        <a:srgbClr val="F2F2F2"/>
      </a:lt2>
      <a:accent1>
        <a:srgbClr val="03522D"/>
      </a:accent1>
      <a:accent2>
        <a:srgbClr val="197A56"/>
      </a:accent2>
      <a:accent3>
        <a:srgbClr val="98FBCC"/>
      </a:accent3>
      <a:accent4>
        <a:srgbClr val="3EAD92"/>
      </a:accent4>
      <a:accent5>
        <a:srgbClr val="6E6F73"/>
      </a:accent5>
      <a:accent6>
        <a:srgbClr val="D6A26A"/>
      </a:accent6>
      <a:hlink>
        <a:srgbClr val="2E3558"/>
      </a:hlink>
      <a:folHlink>
        <a:srgbClr val="2E3558"/>
      </a:folHlink>
    </a:clrScheme>
    <a:fontScheme name="理想字体">
      <a:majorFont>
        <a:latin typeface="理想品牌字体 2022"/>
        <a:ea typeface="理想品牌字体 2022"/>
        <a:cs typeface=""/>
      </a:majorFont>
      <a:minorFont>
        <a:latin typeface="理想品牌字体 2022"/>
        <a:ea typeface="理想品牌字体 2022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90</Words>
  <Application>Microsoft Office PowerPoint</Application>
  <PresentationFormat>宽屏</PresentationFormat>
  <Paragraphs>23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12" baseType="lpstr">
      <vt:lpstr>Futura</vt:lpstr>
      <vt:lpstr>LiciumFont 2022 Bold</vt:lpstr>
      <vt:lpstr>等线</vt:lpstr>
      <vt:lpstr>等线 Light</vt:lpstr>
      <vt:lpstr>理想品牌字体 2022</vt:lpstr>
      <vt:lpstr>Arial</vt:lpstr>
      <vt:lpstr>Calibri</vt:lpstr>
      <vt:lpstr>Trebuchet MS</vt:lpstr>
      <vt:lpstr>Office 主题​​</vt:lpstr>
      <vt:lpstr>BCG Grid 16:9</vt:lpstr>
      <vt:lpstr>think-cell 幻灯片</vt:lpstr>
      <vt:lpstr>{title}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{title}</dc:title>
  <dc:creator>后梦雪</dc:creator>
  <cp:lastModifiedBy>后梦雪</cp:lastModifiedBy>
  <cp:revision>1</cp:revision>
  <dcterms:created xsi:type="dcterms:W3CDTF">2025-09-10T07:13:25Z</dcterms:created>
  <dcterms:modified xsi:type="dcterms:W3CDTF">2025-09-10T07:14:48Z</dcterms:modified>
</cp:coreProperties>
</file>